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0" r:id="rId1"/>
  </p:sldMasterIdLst>
  <p:notesMasterIdLst>
    <p:notesMasterId r:id="rId17"/>
  </p:notesMasterIdLst>
  <p:sldIdLst>
    <p:sldId id="294" r:id="rId2"/>
    <p:sldId id="292" r:id="rId3"/>
    <p:sldId id="300" r:id="rId4"/>
    <p:sldId id="304" r:id="rId5"/>
    <p:sldId id="305" r:id="rId6"/>
    <p:sldId id="306" r:id="rId7"/>
    <p:sldId id="257" r:id="rId8"/>
    <p:sldId id="301" r:id="rId9"/>
    <p:sldId id="302" r:id="rId10"/>
    <p:sldId id="303" r:id="rId11"/>
    <p:sldId id="310" r:id="rId12"/>
    <p:sldId id="309" r:id="rId13"/>
    <p:sldId id="308" r:id="rId14"/>
    <p:sldId id="299" r:id="rId15"/>
    <p:sldId id="297" r:id="rId16"/>
  </p:sldIdLst>
  <p:sldSz cx="12192000" cy="6858000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j45322" initials="v" lastIdx="1" clrIdx="0">
    <p:extLst>
      <p:ext uri="{19B8F6BF-5375-455C-9EA6-DF929625EA0E}">
        <p15:presenceInfo xmlns:p15="http://schemas.microsoft.com/office/powerpoint/2012/main" userId="vaj45322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38" autoAdjust="0"/>
    <p:restoredTop sz="96713" autoAdjust="0"/>
  </p:normalViewPr>
  <p:slideViewPr>
    <p:cSldViewPr snapToGrid="0">
      <p:cViewPr varScale="1">
        <p:scale>
          <a:sx n="62" d="100"/>
          <a:sy n="62" d="100"/>
        </p:scale>
        <p:origin x="784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B35532-E520-45DB-B758-9A2061812C2C}" type="datetimeFigureOut">
              <a:rPr lang="en-US" smtClean="0"/>
              <a:t>11/30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CA4AF-CCD2-433A-B3E5-77E1BA35AA0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746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3F7D5A-F825-4011-893E-D04AC3A358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14379"/>
            <a:ext cx="9144000" cy="1714481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F881DB6-53EB-42E5-AC2B-F98C90D574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873636"/>
            <a:ext cx="8359140" cy="1981195"/>
          </a:xfrm>
        </p:spPr>
        <p:txBody>
          <a:bodyPr/>
          <a:lstStyle>
            <a:lvl1pPr marL="0" indent="0" algn="ctr">
              <a:buNone/>
              <a:defRPr lang="de-DE" sz="2400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5F907A-2888-41DF-8275-2A2B19FF2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E3E8D23-F272-41C6-BE0D-42A7C92B6B5B}"/>
              </a:ext>
            </a:extLst>
          </p:cNvPr>
          <p:cNvCxnSpPr>
            <a:cxnSpLocks/>
          </p:cNvCxnSpPr>
          <p:nvPr userDrawn="1"/>
        </p:nvCxnSpPr>
        <p:spPr>
          <a:xfrm>
            <a:off x="1524000" y="3628860"/>
            <a:ext cx="9144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CD0C50DE-8D0C-41C0-BFFF-FE308CA876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38260" y="5006994"/>
            <a:ext cx="3146545" cy="171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48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1CB183-3BE6-4FD7-B816-14115F57B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54E898A-9CE5-489C-B557-35829A81A3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1383AD6-06DE-4E04-BB0D-716027764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455909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0914FD1A-1A07-44CA-A4AE-A315FF0F44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87DDC8-81F7-4DDA-8C63-C9C4759CA9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F9FB03E-EC67-4A7F-A593-07DAF9579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15909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C1EAEC-1256-45F5-A8C7-48D617598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03187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BF4D65-FAED-415D-8A9E-6AC26AAF03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>
            <a:lvl1pPr>
              <a:buSzPct val="70000"/>
              <a:defRPr sz="2400">
                <a:latin typeface="Frutiger Next LT W1G"/>
              </a:defRPr>
            </a:lvl1pPr>
            <a:lvl2pPr>
              <a:defRPr sz="2000">
                <a:latin typeface="Frutiger Next LT W1G"/>
              </a:defRPr>
            </a:lvl2pPr>
            <a:lvl3pPr>
              <a:defRPr sz="1800">
                <a:latin typeface="Frutiger Next LT W1G"/>
              </a:defRPr>
            </a:lvl3pPr>
            <a:lvl4pPr>
              <a:defRPr sz="1600">
                <a:latin typeface="Frutiger Next LT W1G"/>
              </a:defRPr>
            </a:lvl4pPr>
            <a:lvl5pPr>
              <a:defRPr sz="1600"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355F329-3101-41B0-B687-E26930499A85}"/>
              </a:ext>
            </a:extLst>
          </p:cNvPr>
          <p:cNvCxnSpPr>
            <a:cxnSpLocks/>
          </p:cNvCxnSpPr>
          <p:nvPr userDrawn="1"/>
        </p:nvCxnSpPr>
        <p:spPr>
          <a:xfrm>
            <a:off x="838200" y="862013"/>
            <a:ext cx="105156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D98DC607-6D4C-41D6-8735-659306FBC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7464505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C77A33-DBE8-405A-A366-4D0B6E7EE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22D4F1A-C984-4C3A-8389-9BAA7D0450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Frutiger Next LT W1G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389DA5E-0B41-46A5-9D21-7FD9CED55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8303102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37220C-04A2-4CE1-8FFC-D27F59BBF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B12ABE-A465-4DFF-9677-C4E48EE256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DCB6BBA-510E-4F62-8B19-D639E14EFB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0E9021F-7410-43DC-9A62-F4CF7430D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986287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4CFF19-6D26-427E-88BD-139A3434E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5FF3D5-285D-4800-ABA7-F558CC1E57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Frutiger Next LT W1G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E2F7589-90BF-43B8-921B-6B2A83BC00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4B76BF0-327F-4E24-8E87-23A86C8A9F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lang="de-DE" sz="2400" b="1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DA8162A-D2B2-422A-9E93-0143C1AA92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754B407-BB56-427E-8B78-010A12387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229953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7C894F-624A-4D33-81E9-6EF043AA9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F223277-B98A-41E2-B146-7774FC35C2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1312571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22A9F2-C285-42E3-835E-64D1134F6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2874729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C883D-2D12-443F-9093-0229FFB88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B577E3-6B35-4E56-A2E4-782F7A3119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Frutiger Next LT W1G"/>
              </a:defRPr>
            </a:lvl1pPr>
            <a:lvl2pPr>
              <a:defRPr sz="2800">
                <a:latin typeface="Frutiger Next LT W1G"/>
              </a:defRPr>
            </a:lvl2pPr>
            <a:lvl3pPr>
              <a:defRPr sz="2400">
                <a:latin typeface="Frutiger Next LT W1G"/>
              </a:defRPr>
            </a:lvl3pPr>
            <a:lvl4pPr>
              <a:defRPr sz="2000">
                <a:latin typeface="Frutiger Next LT W1G"/>
              </a:defRPr>
            </a:lvl4pPr>
            <a:lvl5pPr>
              <a:defRPr sz="2000">
                <a:latin typeface="Frutiger Next LT W1G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8E37E4-3725-4427-926D-BA965492B1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656000C-8377-498D-9BCA-B294B08A7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637601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4EA7D4-B1D3-4C6C-83C5-6B4A80E1F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D945354-8054-4CF6-AA17-94D67C7A5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33A2D70-F568-4C41-9023-D7162EB93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B26431B-DF1C-495C-A4D7-C433E8BA0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063522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755DD19-CB6C-489F-BD7F-167DFD6B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5569E2-E29C-4C58-8656-FD6EA7368F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0974"/>
            <a:ext cx="10515600" cy="4899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9F4187-1357-409C-83FE-97A3D19910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724948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5B754E-E23B-4E49-86C5-1FB4010E1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1579" y="3234441"/>
            <a:ext cx="8808841" cy="1636577"/>
          </a:xfrm>
        </p:spPr>
        <p:txBody>
          <a:bodyPr>
            <a:normAutofit fontScale="90000"/>
          </a:bodyPr>
          <a:lstStyle/>
          <a:p>
            <a:pPr algn="ctr"/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r>
              <a:rPr lang="de-DE" dirty="0"/>
              <a:t>Data Challenges</a:t>
            </a:r>
            <a:br>
              <a:rPr lang="de-DE" dirty="0"/>
            </a:br>
            <a:br>
              <a:rPr lang="de-DE" dirty="0"/>
            </a:br>
            <a:r>
              <a:rPr lang="de-DE" sz="4400" dirty="0"/>
              <a:t>Task 3: Clustering and Imputation</a:t>
            </a:r>
            <a:br>
              <a:rPr lang="de-DE" sz="4400" dirty="0"/>
            </a:br>
            <a:br>
              <a:rPr lang="de-DE" sz="4400" dirty="0"/>
            </a:br>
            <a:r>
              <a:rPr lang="de-DE" sz="4400" dirty="0"/>
              <a:t>Group 8</a:t>
            </a:r>
          </a:p>
        </p:txBody>
      </p:sp>
      <p:pic>
        <p:nvPicPr>
          <p:cNvPr id="8" name="Inhaltsplatzhalter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CE703574-C7EF-4C5B-8325-B0D5A41D0305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0691" y="363841"/>
            <a:ext cx="2220567" cy="1212547"/>
          </a:xfr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7F67BE49-6B0A-43C5-84E8-B3EAF170C545}"/>
              </a:ext>
            </a:extLst>
          </p:cNvPr>
          <p:cNvSpPr txBox="1"/>
          <p:nvPr/>
        </p:nvSpPr>
        <p:spPr>
          <a:xfrm>
            <a:off x="1155247" y="4871018"/>
            <a:ext cx="609872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de-DE" dirty="0"/>
              <a:t>Jakob Vanek 5879817</a:t>
            </a:r>
            <a:br>
              <a:rPr lang="de-DE" dirty="0"/>
            </a:br>
            <a:r>
              <a:rPr lang="de-DE" dirty="0"/>
              <a:t>Philipp Wörner 6375519</a:t>
            </a:r>
            <a:br>
              <a:rPr lang="de-DE" dirty="0"/>
            </a:br>
            <a:r>
              <a:rPr lang="de-DE" dirty="0"/>
              <a:t>Tobias Ettling </a:t>
            </a:r>
            <a:r>
              <a:rPr lang="de-DE" b="0" i="0" u="none" strike="noStrike" baseline="0" dirty="0"/>
              <a:t>6753746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083109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3.2 – k-</a:t>
            </a:r>
            <a:r>
              <a:rPr lang="de-DE" dirty="0" err="1"/>
              <a:t>mean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Imputation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4010C58-8221-4173-B7FC-1BB1EB151875}"/>
              </a:ext>
            </a:extLst>
          </p:cNvPr>
          <p:cNvSpPr txBox="1"/>
          <p:nvPr/>
        </p:nvSpPr>
        <p:spPr>
          <a:xfrm>
            <a:off x="838200" y="1256715"/>
            <a:ext cx="3771900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1800" dirty="0" err="1">
                <a:latin typeface="+mn-lt"/>
              </a:rPr>
              <a:t>PaCMAP</a:t>
            </a:r>
            <a:r>
              <a:rPr lang="en-US" sz="1800" dirty="0">
                <a:latin typeface="+mn-lt"/>
              </a:rPr>
              <a:t> has denser mapping which can be seen in the clustering. </a:t>
            </a:r>
          </a:p>
          <a:p>
            <a:endParaRPr lang="en-US" sz="1800" dirty="0">
              <a:latin typeface="+mn-lt"/>
            </a:endParaRP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dirty="0"/>
              <a:t>Noteworthy clusters: #1 and #5 have a high relative value </a:t>
            </a:r>
          </a:p>
          <a:p>
            <a:endParaRPr lang="en-US" sz="1800" dirty="0">
              <a:latin typeface="+mn-lt"/>
            </a:endParaRP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cluster #1 (Sepsis: 20 Size: 89, relative: 22.4%)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dirty="0"/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cluster #5 (Sepsis: 14, Size: 53, relative: 26.4%)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dirty="0"/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dirty="0"/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sz="1800" dirty="0">
              <a:latin typeface="+mn-lt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00AD1C0-B7FB-451D-AB09-E32393B097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0098" y="1256715"/>
            <a:ext cx="5879604" cy="4443993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8845835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3.2 – DBSCAN </a:t>
            </a:r>
            <a:r>
              <a:rPr lang="de-DE" dirty="0" err="1"/>
              <a:t>without</a:t>
            </a:r>
            <a:r>
              <a:rPr lang="de-DE" dirty="0"/>
              <a:t> Imputation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28C8C32-06A0-489A-9268-A26FEA055C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4767" y="1123950"/>
            <a:ext cx="6279033" cy="4709274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48E3E36-2208-4898-AFA4-07DF43FA11D9}"/>
              </a:ext>
            </a:extLst>
          </p:cNvPr>
          <p:cNvSpPr txBox="1"/>
          <p:nvPr/>
        </p:nvSpPr>
        <p:spPr>
          <a:xfrm>
            <a:off x="838200" y="1256715"/>
            <a:ext cx="3771900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DBSCAN </a:t>
            </a:r>
            <a:r>
              <a:rPr lang="en-US" sz="1800" b="1" dirty="0">
                <a:latin typeface="+mn-lt"/>
              </a:rPr>
              <a:t>without interpolation and imputation </a:t>
            </a:r>
            <a:r>
              <a:rPr lang="en-US" sz="1800" dirty="0">
                <a:latin typeface="+mn-lt"/>
              </a:rPr>
              <a:t>(part of Task 3.1)</a:t>
            </a:r>
            <a:endParaRPr lang="en-US" dirty="0"/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sz="1800" b="1" dirty="0">
              <a:latin typeface="+mn-lt"/>
            </a:endParaRP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dirty="0"/>
              <a:t>Also u</a:t>
            </a:r>
            <a:r>
              <a:rPr lang="en-US" sz="1800" dirty="0">
                <a:latin typeface="+mn-lt"/>
              </a:rPr>
              <a:t>sing </a:t>
            </a:r>
            <a:r>
              <a:rPr lang="en-US" sz="1800" b="1" dirty="0">
                <a:latin typeface="+mn-lt"/>
              </a:rPr>
              <a:t>z-values</a:t>
            </a:r>
            <a:r>
              <a:rPr lang="en-US" sz="1800" dirty="0">
                <a:latin typeface="+mn-lt"/>
              </a:rPr>
              <a:t> for standardization of features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dirty="0">
              <a:highlight>
                <a:srgbClr val="FFFF00"/>
              </a:highlight>
            </a:endParaRP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dirty="0"/>
              <a:t>Epsilon = 0.4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sz="1800" dirty="0">
              <a:latin typeface="+mn-lt"/>
            </a:endParaRP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dirty="0" err="1"/>
              <a:t>Min_samples</a:t>
            </a:r>
            <a:r>
              <a:rPr lang="en-US" dirty="0"/>
              <a:t> = 8</a:t>
            </a:r>
          </a:p>
        </p:txBody>
      </p:sp>
    </p:spTree>
    <p:extLst>
      <p:ext uri="{BB962C8B-B14F-4D97-AF65-F5344CB8AC3E}">
        <p14:creationId xmlns:p14="http://schemas.microsoft.com/office/powerpoint/2010/main" val="23755036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3.2 – DBSCAN </a:t>
            </a:r>
            <a:r>
              <a:rPr lang="de-DE" dirty="0" err="1"/>
              <a:t>with</a:t>
            </a:r>
            <a:r>
              <a:rPr lang="de-DE" dirty="0"/>
              <a:t> Imputation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17F6072-33A1-4F2C-AB96-223341026D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6112" y="1142999"/>
            <a:ext cx="6357687" cy="4768265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BF5DD1EE-9F76-4CC9-BDEA-780BCAC8E028}"/>
              </a:ext>
            </a:extLst>
          </p:cNvPr>
          <p:cNvSpPr txBox="1"/>
          <p:nvPr/>
        </p:nvSpPr>
        <p:spPr>
          <a:xfrm>
            <a:off x="838200" y="1256715"/>
            <a:ext cx="377190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b="1" dirty="0"/>
              <a:t>Epsilon value </a:t>
            </a:r>
            <a:r>
              <a:rPr lang="en-US" dirty="0"/>
              <a:t>and</a:t>
            </a:r>
            <a:r>
              <a:rPr lang="en-US" b="1" dirty="0"/>
              <a:t> minimum of neighboring samples </a:t>
            </a:r>
            <a:r>
              <a:rPr lang="en-US" dirty="0"/>
              <a:t>must be further optimized (using silhouette score)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sz="1800" dirty="0">
              <a:latin typeface="+mn-lt"/>
            </a:endParaRP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dirty="0"/>
              <a:t>With these parameters there are no clusters found</a:t>
            </a:r>
            <a:endParaRPr lang="en-US" sz="1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00606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3.2 – Clustering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CMAP-data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40491B6-0F41-415A-A882-BA28E08730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4450" y="1181100"/>
            <a:ext cx="6146800" cy="461010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C2A3E60D-D8A6-4D7E-A091-568685BECC97}"/>
              </a:ext>
            </a:extLst>
          </p:cNvPr>
          <p:cNvSpPr txBox="1"/>
          <p:nvPr/>
        </p:nvSpPr>
        <p:spPr>
          <a:xfrm>
            <a:off x="838200" y="1256715"/>
            <a:ext cx="377190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dirty="0"/>
              <a:t>Clustering of the </a:t>
            </a:r>
            <a:r>
              <a:rPr lang="en-US" dirty="0" err="1"/>
              <a:t>PaCMAP</a:t>
            </a:r>
            <a:r>
              <a:rPr lang="en-US" dirty="0"/>
              <a:t> data leads to very precise clusters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sz="1800" dirty="0">
              <a:latin typeface="+mn-lt"/>
            </a:endParaRP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dirty="0"/>
              <a:t>While the interpretation of each cluster is unclear this is helpful to identify interesting subgroups</a:t>
            </a:r>
            <a:endParaRPr lang="en-US" sz="1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796621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Next Possible </a:t>
            </a:r>
            <a:r>
              <a:rPr lang="de-DE" sz="4000" noProof="0" dirty="0" err="1">
                <a:latin typeface="+mn-lt"/>
              </a:rPr>
              <a:t>Steps</a:t>
            </a:r>
            <a:r>
              <a:rPr lang="de-DE" sz="4000" noProof="0" dirty="0">
                <a:latin typeface="+mn-lt"/>
              </a:rPr>
              <a:t>?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016B973C-0DAE-4A45-96DE-4216798698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/>
          <a:p>
            <a:pPr marL="514350" indent="-514350">
              <a:buAutoNum type="arabicPeriod"/>
            </a:pPr>
            <a:endParaRPr lang="de-DE" sz="2800" noProof="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dirty="0" err="1">
                <a:latin typeface="+mn-lt"/>
              </a:rPr>
              <a:t>Apply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subspace-clustering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methods</a:t>
            </a:r>
            <a:r>
              <a:rPr lang="de-DE" sz="2800" dirty="0">
                <a:latin typeface="+mn-lt"/>
              </a:rPr>
              <a:t> </a:t>
            </a:r>
          </a:p>
          <a:p>
            <a:pPr marL="514350" indent="-514350">
              <a:buAutoNum type="arabicPeriod"/>
            </a:pP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noProof="0" dirty="0" err="1">
                <a:latin typeface="+mn-lt"/>
              </a:rPr>
              <a:t>Subspace</a:t>
            </a:r>
            <a:r>
              <a:rPr lang="de-DE" sz="2800" noProof="0" dirty="0">
                <a:latin typeface="+mn-lt"/>
              </a:rPr>
              <a:t> Clustering and Imputation</a:t>
            </a:r>
            <a:endParaRPr lang="de-DE" sz="2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826836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CF38384E-C919-436D-8FAF-8DEAA6CF0E4D}"/>
              </a:ext>
            </a:extLst>
          </p:cNvPr>
          <p:cNvSpPr txBox="1"/>
          <p:nvPr/>
        </p:nvSpPr>
        <p:spPr>
          <a:xfrm>
            <a:off x="4590662" y="3105834"/>
            <a:ext cx="240729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3600" dirty="0" err="1">
                <a:latin typeface="+mn-lt"/>
              </a:rPr>
              <a:t>Thank</a:t>
            </a:r>
            <a:r>
              <a:rPr lang="de-DE" sz="3600" dirty="0">
                <a:latin typeface="+mn-lt"/>
              </a:rPr>
              <a:t> </a:t>
            </a:r>
            <a:r>
              <a:rPr lang="de-DE" sz="3600" dirty="0" err="1">
                <a:latin typeface="+mn-lt"/>
              </a:rPr>
              <a:t>Y</a:t>
            </a:r>
            <a:r>
              <a:rPr lang="de-DE" sz="3600" dirty="0" err="1"/>
              <a:t>ou</a:t>
            </a:r>
            <a:r>
              <a:rPr lang="de-DE" sz="3600" dirty="0">
                <a:latin typeface="+mn-l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5037124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9B06663-BCBE-40DB-9222-0039D464CF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136650"/>
            <a:ext cx="5414394" cy="244475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341E27C5-CC8C-4DB4-81B2-034185D7FC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9544" y="1041974"/>
            <a:ext cx="4106411" cy="3079808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662B480C-6EC9-4C93-8EF4-D46A8DB7FB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6088" y="3727450"/>
            <a:ext cx="4106412" cy="307980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D4CB9B4-9B18-40A5-BA53-E07A3E44E2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2500" y="3873558"/>
            <a:ext cx="3911600" cy="2933700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20FF7E35-C990-4A9B-9E4B-D6BC5784543C}"/>
              </a:ext>
            </a:extLst>
          </p:cNvPr>
          <p:cNvSpPr txBox="1"/>
          <p:nvPr/>
        </p:nvSpPr>
        <p:spPr>
          <a:xfrm>
            <a:off x="5588002" y="3873558"/>
            <a:ext cx="24544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PCA on </a:t>
            </a:r>
            <a:r>
              <a:rPr lang="de-DE" dirty="0" err="1"/>
              <a:t>entir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et</a:t>
            </a:r>
            <a:r>
              <a:rPr lang="de-DE" dirty="0"/>
              <a:t> A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CA1CC82-287A-4810-91EF-0E28D1E92D67}"/>
              </a:ext>
            </a:extLst>
          </p:cNvPr>
          <p:cNvSpPr txBox="1"/>
          <p:nvPr/>
        </p:nvSpPr>
        <p:spPr>
          <a:xfrm>
            <a:off x="1228950" y="3733858"/>
            <a:ext cx="21587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PCA </a:t>
            </a:r>
            <a:r>
              <a:rPr lang="de-DE" dirty="0" err="1"/>
              <a:t>varianc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label</a:t>
            </a:r>
            <a:endParaRPr lang="de-DE" dirty="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9610F37D-D62E-40D2-A4A2-F9C0B3E11A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7697" y="4058224"/>
            <a:ext cx="3604956" cy="2703718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99BC6D21-496A-467D-882F-9EB1D32DBA08}"/>
              </a:ext>
            </a:extLst>
          </p:cNvPr>
          <p:cNvSpPr txBox="1"/>
          <p:nvPr/>
        </p:nvSpPr>
        <p:spPr>
          <a:xfrm>
            <a:off x="8859430" y="3735058"/>
            <a:ext cx="282237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Dropped</a:t>
            </a:r>
            <a:r>
              <a:rPr lang="de-DE" dirty="0"/>
              <a:t> out </a:t>
            </a:r>
            <a:r>
              <a:rPr lang="de-DE" dirty="0" err="1"/>
              <a:t>label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missing</a:t>
            </a:r>
            <a:r>
              <a:rPr lang="de-DE" dirty="0"/>
              <a:t> &gt;50% Data</a:t>
            </a:r>
          </a:p>
        </p:txBody>
      </p:sp>
    </p:spTree>
    <p:extLst>
      <p:ext uri="{BB962C8B-B14F-4D97-AF65-F5344CB8AC3E}">
        <p14:creationId xmlns:p14="http://schemas.microsoft.com/office/powerpoint/2010/main" val="41050661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24697C7-2D04-4BA2-8595-6F4F6EA311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500" y="1219486"/>
            <a:ext cx="4056296" cy="3042222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C621F91-B996-4CF6-9055-D0ABCA3B81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1775" y="1296028"/>
            <a:ext cx="3263822" cy="296545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2F2E77C5-8507-4484-AC8E-925A2667FA42}"/>
              </a:ext>
            </a:extLst>
          </p:cNvPr>
          <p:cNvSpPr txBox="1"/>
          <p:nvPr/>
        </p:nvSpPr>
        <p:spPr>
          <a:xfrm>
            <a:off x="1231902" y="1123434"/>
            <a:ext cx="14951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TSNE on Set A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F47B49B-90B9-4C06-B2AC-FA3C61B27702}"/>
              </a:ext>
            </a:extLst>
          </p:cNvPr>
          <p:cNvSpPr txBox="1"/>
          <p:nvPr/>
        </p:nvSpPr>
        <p:spPr>
          <a:xfrm>
            <a:off x="5420130" y="1129268"/>
            <a:ext cx="13871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LDA on Set A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57B4494-A983-43D5-A87B-125FCC6AD7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4115" y="4446144"/>
            <a:ext cx="2980266" cy="2235200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BDFDAE43-135B-4FBD-895C-94D14B078621}"/>
              </a:ext>
            </a:extLst>
          </p:cNvPr>
          <p:cNvSpPr txBox="1"/>
          <p:nvPr/>
        </p:nvSpPr>
        <p:spPr>
          <a:xfrm>
            <a:off x="1231902" y="4261478"/>
            <a:ext cx="2686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PacMap</a:t>
            </a:r>
            <a:r>
              <a:rPr lang="de-DE" dirty="0"/>
              <a:t> on </a:t>
            </a:r>
            <a:r>
              <a:rPr lang="de-DE" dirty="0" err="1"/>
              <a:t>subgroup</a:t>
            </a:r>
            <a:r>
              <a:rPr lang="de-DE" dirty="0"/>
              <a:t> mal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18B4950-9AAE-4876-B290-353F20FFA027}"/>
              </a:ext>
            </a:extLst>
          </p:cNvPr>
          <p:cNvSpPr txBox="1"/>
          <p:nvPr/>
        </p:nvSpPr>
        <p:spPr>
          <a:xfrm>
            <a:off x="7926487" y="1111362"/>
            <a:ext cx="3147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PacMap</a:t>
            </a:r>
            <a:r>
              <a:rPr lang="de-DE" dirty="0"/>
              <a:t> on </a:t>
            </a:r>
            <a:r>
              <a:rPr lang="de-DE" dirty="0" err="1"/>
              <a:t>subgroup</a:t>
            </a:r>
            <a:r>
              <a:rPr lang="de-DE" dirty="0"/>
              <a:t> </a:t>
            </a:r>
            <a:r>
              <a:rPr lang="de-DE" dirty="0" err="1"/>
              <a:t>age</a:t>
            </a:r>
            <a:r>
              <a:rPr lang="de-DE" dirty="0"/>
              <a:t> 35-90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955BB51-BBAA-4AE8-A03A-38054737FB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45017" y="4485500"/>
            <a:ext cx="2927792" cy="2195844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2FD84757-2B76-439C-A8BD-9D1CD96202A9}"/>
              </a:ext>
            </a:extLst>
          </p:cNvPr>
          <p:cNvSpPr txBox="1"/>
          <p:nvPr/>
        </p:nvSpPr>
        <p:spPr>
          <a:xfrm>
            <a:off x="4321914" y="4261478"/>
            <a:ext cx="28664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PacMap</a:t>
            </a:r>
            <a:r>
              <a:rPr lang="de-DE" dirty="0"/>
              <a:t> on </a:t>
            </a:r>
            <a:r>
              <a:rPr lang="de-DE" dirty="0" err="1"/>
              <a:t>subgroup</a:t>
            </a:r>
            <a:r>
              <a:rPr lang="de-DE" dirty="0"/>
              <a:t> </a:t>
            </a:r>
            <a:r>
              <a:rPr lang="de-DE" dirty="0" err="1"/>
              <a:t>female</a:t>
            </a:r>
            <a:endParaRPr lang="de-DE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B7297819-AEE2-4DD0-A16F-21DD177576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92103" y="4467005"/>
            <a:ext cx="2977112" cy="2232834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157C7848-B217-479E-AEB5-C5AF22E70A30}"/>
              </a:ext>
            </a:extLst>
          </p:cNvPr>
          <p:cNvSpPr txBox="1"/>
          <p:nvPr/>
        </p:nvSpPr>
        <p:spPr>
          <a:xfrm>
            <a:off x="7571699" y="4261478"/>
            <a:ext cx="3147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PacMap</a:t>
            </a:r>
            <a:r>
              <a:rPr lang="de-DE" dirty="0"/>
              <a:t> on </a:t>
            </a:r>
            <a:r>
              <a:rPr lang="de-DE" dirty="0" err="1"/>
              <a:t>subgroup</a:t>
            </a:r>
            <a:r>
              <a:rPr lang="de-DE" dirty="0"/>
              <a:t> </a:t>
            </a:r>
            <a:r>
              <a:rPr lang="de-DE" dirty="0" err="1"/>
              <a:t>age</a:t>
            </a:r>
            <a:r>
              <a:rPr lang="de-DE" dirty="0"/>
              <a:t> 10-35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A2D838CC-FB4E-44E9-8EB5-8407950B3E3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97334" y="1454243"/>
            <a:ext cx="3605962" cy="2704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1011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B4A4AC7-B47A-4F7A-9A53-1F8507FCA8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592" y="1184272"/>
            <a:ext cx="11067700" cy="5022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7721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C18F5F5-13AE-4BF0-89AE-6314AACD4C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144" y="1281114"/>
            <a:ext cx="11009912" cy="5206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9895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EB11099-1AB2-47C6-855F-E77C5D3CB4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553" y="1295399"/>
            <a:ext cx="10908894" cy="4800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5594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3.1 – a) </a:t>
            </a:r>
            <a:r>
              <a:rPr lang="de-DE" dirty="0" err="1"/>
              <a:t>Conventional</a:t>
            </a:r>
            <a:r>
              <a:rPr lang="de-DE" dirty="0"/>
              <a:t> Clustering Methods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4010C58-8221-4173-B7FC-1BB1EB151875}"/>
              </a:ext>
            </a:extLst>
          </p:cNvPr>
          <p:cNvSpPr txBox="1"/>
          <p:nvPr/>
        </p:nvSpPr>
        <p:spPr>
          <a:xfrm>
            <a:off x="838200" y="1256715"/>
            <a:ext cx="3771900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Some clusters are remarkable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dirty="0"/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dirty="0"/>
              <a:t>C</a:t>
            </a:r>
            <a:r>
              <a:rPr lang="en-US" sz="1800" dirty="0">
                <a:latin typeface="+mn-lt"/>
              </a:rPr>
              <a:t>luster #4 is rather dense while also having the highest sepsis chance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dirty="0"/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This is followed by Cluster #10 and #7 which are, according to </a:t>
            </a:r>
            <a:r>
              <a:rPr lang="en-US" sz="1800" dirty="0" err="1">
                <a:latin typeface="+mn-lt"/>
              </a:rPr>
              <a:t>PaCMAP</a:t>
            </a:r>
            <a:r>
              <a:rPr lang="en-US" sz="1800" dirty="0">
                <a:latin typeface="+mn-lt"/>
              </a:rPr>
              <a:t>, also located close to #4</a:t>
            </a:r>
          </a:p>
          <a:p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C6AD5D5-B348-468D-9D56-A435766D2A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4196" y="1256715"/>
            <a:ext cx="5879604" cy="4443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8791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3.1 – b) Quality </a:t>
            </a:r>
            <a:r>
              <a:rPr lang="de-DE" dirty="0" err="1"/>
              <a:t>Measures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4010C58-8221-4173-B7FC-1BB1EB151875}"/>
              </a:ext>
            </a:extLst>
          </p:cNvPr>
          <p:cNvSpPr txBox="1"/>
          <p:nvPr/>
        </p:nvSpPr>
        <p:spPr>
          <a:xfrm>
            <a:off x="838200" y="1256715"/>
            <a:ext cx="4108450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1" dirty="0">
                <a:latin typeface="+mn-lt"/>
              </a:rPr>
              <a:t>Euclidean Silhouette Score for k-means </a:t>
            </a:r>
            <a:r>
              <a:rPr lang="en-US" sz="1800" dirty="0">
                <a:latin typeface="+mn-lt"/>
              </a:rPr>
              <a:t>(based on </a:t>
            </a:r>
            <a:r>
              <a:rPr lang="en-US" sz="1800" dirty="0" err="1">
                <a:latin typeface="+mn-lt"/>
              </a:rPr>
              <a:t>sklearn.metrics</a:t>
            </a:r>
            <a:r>
              <a:rPr lang="en-US" sz="1800" dirty="0">
                <a:latin typeface="+mn-lt"/>
              </a:rPr>
              <a:t>)</a:t>
            </a:r>
            <a:r>
              <a:rPr lang="en-US" sz="1800" b="1" dirty="0">
                <a:latin typeface="+mn-lt"/>
              </a:rPr>
              <a:t> </a:t>
            </a:r>
            <a:r>
              <a:rPr lang="en-US" sz="1800" dirty="0">
                <a:latin typeface="+mn-lt"/>
              </a:rPr>
              <a:t>to compare the distance of a data point and its assigned cluster center towards its distance to the other clust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A </a:t>
            </a:r>
            <a:r>
              <a:rPr lang="en-US" dirty="0"/>
              <a:t>high</a:t>
            </a:r>
            <a:r>
              <a:rPr lang="en-US" sz="1800" dirty="0">
                <a:latin typeface="+mn-lt"/>
              </a:rPr>
              <a:t> silhouette score speaks of a good cluster assignment (below 0.5 is relatively weak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The advantage over Sum of Squared Errors is that it takes the </a:t>
            </a:r>
            <a:r>
              <a:rPr lang="en-US" sz="1800" b="1" dirty="0">
                <a:latin typeface="+mn-lt"/>
              </a:rPr>
              <a:t>heterogeneity between clusters </a:t>
            </a:r>
            <a:r>
              <a:rPr lang="en-US" sz="1800" dirty="0">
                <a:latin typeface="+mn-lt"/>
              </a:rPr>
              <a:t>into account (</a:t>
            </a:r>
            <a:r>
              <a:rPr lang="de-DE" dirty="0"/>
              <a:t>SSE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focusses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omogenity</a:t>
            </a:r>
            <a:r>
              <a:rPr lang="de-DE" dirty="0"/>
              <a:t> </a:t>
            </a:r>
            <a:r>
              <a:rPr lang="de-DE" dirty="0" err="1"/>
              <a:t>insid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lusters</a:t>
            </a:r>
            <a:r>
              <a:rPr lang="de-DE" dirty="0"/>
              <a:t>)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5A1E58C-3580-4512-BAAB-F22547F2B3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9922" y="1035050"/>
            <a:ext cx="6096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4798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3.1 – c) Clustering </a:t>
            </a:r>
            <a:r>
              <a:rPr lang="de-DE" dirty="0" err="1"/>
              <a:t>Subsets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4010C58-8221-4173-B7FC-1BB1EB151875}"/>
              </a:ext>
            </a:extLst>
          </p:cNvPr>
          <p:cNvSpPr txBox="1"/>
          <p:nvPr/>
        </p:nvSpPr>
        <p:spPr>
          <a:xfrm>
            <a:off x="838200" y="1256715"/>
            <a:ext cx="377190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Clustering of the </a:t>
            </a:r>
            <a:r>
              <a:rPr lang="en-US" sz="1800" dirty="0" err="1">
                <a:latin typeface="+mn-lt"/>
              </a:rPr>
              <a:t>PaCMAP</a:t>
            </a:r>
            <a:r>
              <a:rPr lang="en-US" sz="1800" dirty="0">
                <a:latin typeface="+mn-lt"/>
              </a:rPr>
              <a:t> data leads to vastly different results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dirty="0"/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The clusters are more uniformly sized 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endParaRPr lang="en-US" dirty="0"/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However, the spikes in the total sepsis cases has disappeared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9DCC28B-C3ED-48A4-A6DF-246473A5CD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6452" y="1256715"/>
            <a:ext cx="6117348" cy="4443993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1984876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46</Words>
  <Application>Microsoft Office PowerPoint</Application>
  <PresentationFormat>Breitbild</PresentationFormat>
  <Paragraphs>78</Paragraphs>
  <Slides>15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1" baseType="lpstr">
      <vt:lpstr>Arial</vt:lpstr>
      <vt:lpstr>Calibri</vt:lpstr>
      <vt:lpstr>Cambria</vt:lpstr>
      <vt:lpstr>Frutiger Next LT W1G</vt:lpstr>
      <vt:lpstr>Wingdings</vt:lpstr>
      <vt:lpstr>Office</vt:lpstr>
      <vt:lpstr>      Data Challenges  Task 3: Clustering and Imputation  Group 8</vt:lpstr>
      <vt:lpstr>Recap of Last Presentation</vt:lpstr>
      <vt:lpstr>Recap of Last Presentation</vt:lpstr>
      <vt:lpstr>Recap of Last Presentation</vt:lpstr>
      <vt:lpstr>Recap of Last Presentation</vt:lpstr>
      <vt:lpstr>Recap of Last Presentation</vt:lpstr>
      <vt:lpstr>Task 3.1 – a) Conventional Clustering Methods</vt:lpstr>
      <vt:lpstr>Task 3.1 – b) Quality Measures</vt:lpstr>
      <vt:lpstr>Task 3.1 – c) Clustering Subsets</vt:lpstr>
      <vt:lpstr>Task 3.2 – k-means with Imputation</vt:lpstr>
      <vt:lpstr>Task 3.2 – DBSCAN without Imputation</vt:lpstr>
      <vt:lpstr>Task 3.2 – DBSCAN with Imputation</vt:lpstr>
      <vt:lpstr>Task 3.2 – Clustering the PaCMAP-data</vt:lpstr>
      <vt:lpstr>Next Possible Steps?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yber Threat Intelligence –  Analysis of the State of the Art</dc:title>
  <dc:creator>vaj45322</dc:creator>
  <cp:lastModifiedBy>fjzbvpsspf@goetheuniversitaet.onmicrosoft.com</cp:lastModifiedBy>
  <cp:revision>100</cp:revision>
  <dcterms:created xsi:type="dcterms:W3CDTF">2021-06-28T09:55:05Z</dcterms:created>
  <dcterms:modified xsi:type="dcterms:W3CDTF">2021-11-30T15:27:31Z</dcterms:modified>
</cp:coreProperties>
</file>